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57" r:id="rId2"/>
    <p:sldId id="287" r:id="rId3"/>
    <p:sldId id="292" r:id="rId4"/>
    <p:sldId id="293" r:id="rId5"/>
    <p:sldId id="290" r:id="rId6"/>
    <p:sldId id="295" r:id="rId7"/>
    <p:sldId id="294" r:id="rId8"/>
    <p:sldId id="296" r:id="rId9"/>
    <p:sldId id="298" r:id="rId10"/>
    <p:sldId id="299" r:id="rId11"/>
    <p:sldId id="300" r:id="rId12"/>
    <p:sldId id="301" r:id="rId13"/>
    <p:sldId id="302" r:id="rId14"/>
    <p:sldId id="303" r:id="rId15"/>
    <p:sldId id="304" r:id="rId16"/>
    <p:sldId id="278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D7A7A"/>
    <a:srgbClr val="D23B84"/>
    <a:srgbClr val="E4E4E4"/>
    <a:srgbClr val="20637A"/>
    <a:srgbClr val="2F728A"/>
    <a:srgbClr val="3A706D"/>
    <a:srgbClr val="005555"/>
    <a:srgbClr val="D8D8D8"/>
    <a:srgbClr val="F20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5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10DB8-584E-46DB-B52B-04D3D316388D}" type="datetimeFigureOut">
              <a:rPr lang="de-DE" smtClean="0"/>
              <a:t>19.10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9B3245-6DC6-4AC9-BEA6-1211CF63BFB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118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ot: single data series of deaths for Germany with model fit, forecast and negative binomial PI; highlight uniform width of PI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9B3245-6DC6-4AC9-BEA6-1211CF63BFB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8889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9B3245-6DC6-4AC9-BEA6-1211CF63BFB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77230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sert QR Cod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working</a:t>
            </a:r>
            <a:r>
              <a:rPr lang="de-DE" dirty="0"/>
              <a:t> </a:t>
            </a:r>
            <a:r>
              <a:rPr lang="de-DE" dirty="0" err="1"/>
              <a:t>paper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9B3245-6DC6-4AC9-BEA6-1211CF63BFBA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9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3192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030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4805673" y="813262"/>
            <a:ext cx="6438587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340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ie mi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/Quelle angeb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2154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54641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514336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8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070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6402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6575990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23200" y="2097088"/>
            <a:ext cx="3421063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8" y="2097088"/>
            <a:ext cx="680434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8891843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538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0144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4024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0961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1"/>
            <a:ext cx="3451225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5537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7739" y="2097087"/>
            <a:ext cx="10296524" cy="4319587"/>
          </a:xfrm>
        </p:spPr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b="0"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spcBef>
                <a:spcPts val="700"/>
              </a:spcBef>
              <a:defRPr sz="1400" b="0">
                <a:solidFill>
                  <a:schemeClr val="tx1"/>
                </a:solidFill>
              </a:defRPr>
            </a:lvl3pPr>
            <a:lvl4pPr marL="360000">
              <a:spcBef>
                <a:spcPts val="700"/>
              </a:spcBef>
              <a:defRPr sz="1400" b="1" kern="600" spc="40" baseline="0">
                <a:solidFill>
                  <a:schemeClr val="tx2"/>
                </a:solidFill>
              </a:defRPr>
            </a:lvl4pPr>
            <a:lvl5pPr marL="540000">
              <a:lnSpc>
                <a:spcPts val="2300"/>
              </a:lnSpc>
              <a:spcBef>
                <a:spcPts val="700"/>
              </a:spcBef>
              <a:defRPr sz="1400"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971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7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8914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577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4805679" y="813262"/>
            <a:ext cx="6438581" cy="5231476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16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Folie" r:id="rId21" imgW="384" imgH="385" progId="TCLayout.ActiveDocument.1">
                  <p:embed/>
                </p:oleObj>
              </mc:Choice>
              <mc:Fallback>
                <p:oleObj name="think-cell Folie" r:id="rId2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655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20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6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.jpg"/><Relationship Id="rId4" Type="http://schemas.openxmlformats.org/officeDocument/2006/relationships/image" Target="../media/image9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.jpg"/><Relationship Id="rId4" Type="http://schemas.openxmlformats.org/officeDocument/2006/relationships/image" Target="../media/image9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jp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.jpg"/><Relationship Id="rId4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3CE18A-6271-4276-A7B9-17D448A30200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BCE5D1A6-3F3C-4B71-AA41-02BC21286D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E98B4EC-72B0-482B-9D02-2FF3CBAC3F88}"/>
              </a:ext>
            </a:extLst>
          </p:cNvPr>
          <p:cNvSpPr/>
          <p:nvPr/>
        </p:nvSpPr>
        <p:spPr>
          <a:xfrm>
            <a:off x="1210492" y="2019704"/>
            <a:ext cx="9771016" cy="4075610"/>
          </a:xfrm>
          <a:prstGeom prst="rect">
            <a:avLst/>
          </a:prstGeom>
          <a:blipFill dpi="0" rotWithShape="1">
            <a:blip r:embed="rId3">
              <a:alphaModFix amt="3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tailEnd type="triangle" w="lg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>
                <a:srgbClr val="116656"/>
              </a:buClr>
              <a:buSzPct val="120000"/>
              <a:buFontTx/>
              <a:buNone/>
              <a:tabLst/>
              <a:defRPr/>
            </a:pP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663833-0145-8247-9AF6-1ECE2D266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510" y="2517168"/>
            <a:ext cx="9046489" cy="1226831"/>
          </a:xfrm>
        </p:spPr>
        <p:txBody>
          <a:bodyPr/>
          <a:lstStyle/>
          <a:p>
            <a:r>
              <a:rPr lang="en-US" sz="2400" cap="none" dirty="0"/>
              <a:t>Empirical Prediction Intervals Applied to Short-term Mortality and Excess Deaths</a:t>
            </a:r>
            <a:endParaRPr lang="de-DE" b="0" cap="non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5A2311-CEFE-5E45-86DE-BC684D8855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05509" y="3744000"/>
            <a:ext cx="6347922" cy="1886238"/>
          </a:xfrm>
        </p:spPr>
        <p:txBody>
          <a:bodyPr/>
          <a:lstStyle/>
          <a:p>
            <a:r>
              <a:rPr lang="de-DE" dirty="0"/>
              <a:t>Ricarda Duerst</a:t>
            </a:r>
            <a:r>
              <a:rPr lang="de-DE" baseline="30000" dirty="0"/>
              <a:t>1,2</a:t>
            </a:r>
            <a:r>
              <a:rPr lang="de-DE" dirty="0"/>
              <a:t>, Jonas Schöley</a:t>
            </a:r>
            <a:r>
              <a:rPr lang="de-DE" baseline="30000" dirty="0"/>
              <a:t>1</a:t>
            </a:r>
          </a:p>
          <a:p>
            <a:r>
              <a:rPr lang="de-DE" baseline="30000" dirty="0"/>
              <a:t>1 </a:t>
            </a: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Research</a:t>
            </a:r>
            <a:br>
              <a:rPr lang="de-DE" dirty="0"/>
            </a:br>
            <a:r>
              <a:rPr lang="de-DE" baseline="30000" dirty="0"/>
              <a:t>2 </a:t>
            </a: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</a:t>
            </a:r>
          </a:p>
        </p:txBody>
      </p:sp>
    </p:spTree>
    <p:extLst>
      <p:ext uri="{BB962C8B-B14F-4D97-AF65-F5344CB8AC3E}">
        <p14:creationId xmlns:p14="http://schemas.microsoft.com/office/powerpoint/2010/main" val="1022577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empirical prediction intervals?</a:t>
            </a:r>
            <a:endParaRPr lang="en-US" cap="non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3CBECE-7013-42E2-BE7D-09713C2ADDC0}"/>
              </a:ext>
            </a:extLst>
          </p:cNvPr>
          <p:cNvSpPr/>
          <p:nvPr/>
        </p:nvSpPr>
        <p:spPr>
          <a:xfrm>
            <a:off x="3405051" y="1767840"/>
            <a:ext cx="748938" cy="130629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20A589-3516-4D21-913F-E07B9FD8B0A8}"/>
              </a:ext>
            </a:extLst>
          </p:cNvPr>
          <p:cNvSpPr/>
          <p:nvPr/>
        </p:nvSpPr>
        <p:spPr>
          <a:xfrm>
            <a:off x="5634446" y="1455174"/>
            <a:ext cx="966651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42EBC9D-F182-49ED-9624-B943A9ECCC0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1581027"/>
            <a:ext cx="7092000" cy="472530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EA78534-9086-4728-83E7-64C2ED44C4FB}"/>
              </a:ext>
            </a:extLst>
          </p:cNvPr>
          <p:cNvSpPr txBox="1"/>
          <p:nvPr/>
        </p:nvSpPr>
        <p:spPr>
          <a:xfrm flipH="1">
            <a:off x="8912469" y="4907767"/>
            <a:ext cx="2798669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Distribution </a:t>
            </a:r>
            <a:r>
              <a:rPr lang="de-DE" sz="2300" dirty="0" err="1"/>
              <a:t>of</a:t>
            </a:r>
            <a:r>
              <a:rPr lang="de-DE" sz="2300" dirty="0"/>
              <a:t> </a:t>
            </a:r>
            <a:r>
              <a:rPr lang="de-DE" sz="2300" dirty="0" err="1"/>
              <a:t>the</a:t>
            </a:r>
            <a:r>
              <a:rPr lang="de-DE" sz="2300" dirty="0"/>
              <a:t> </a:t>
            </a:r>
            <a:r>
              <a:rPr lang="de-DE" sz="2300" dirty="0" err="1"/>
              <a:t>forecast</a:t>
            </a:r>
            <a:r>
              <a:rPr lang="de-DE" sz="2300" dirty="0"/>
              <a:t> </a:t>
            </a:r>
            <a:r>
              <a:rPr lang="de-DE" sz="2300" dirty="0" err="1"/>
              <a:t>error</a:t>
            </a:r>
            <a:endParaRPr lang="de-DE" sz="2300" dirty="0"/>
          </a:p>
        </p:txBody>
      </p:sp>
      <p:pic>
        <p:nvPicPr>
          <p:cNvPr id="8" name="Graphic 7" descr="Line arrow Clockwise curve">
            <a:extLst>
              <a:ext uri="{FF2B5EF4-FFF2-40B4-BE49-F238E27FC236}">
                <a16:creationId xmlns:a16="http://schemas.microsoft.com/office/drawing/2014/main" id="{D79C02FC-0C3E-44BD-BCA2-C6271608F6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190505" flipH="1">
            <a:off x="8455269" y="3735445"/>
            <a:ext cx="914400" cy="91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3973503-6022-4C98-A02E-0D866158433C}"/>
              </a:ext>
            </a:extLst>
          </p:cNvPr>
          <p:cNvSpPr txBox="1"/>
          <p:nvPr/>
        </p:nvSpPr>
        <p:spPr>
          <a:xfrm flipH="1">
            <a:off x="8912468" y="2616719"/>
            <a:ext cx="2798669" cy="88485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Time-</a:t>
            </a:r>
            <a:r>
              <a:rPr lang="de-DE" sz="2300" dirty="0" err="1"/>
              <a:t>varying</a:t>
            </a:r>
            <a:r>
              <a:rPr lang="de-DE" sz="2300" dirty="0"/>
              <a:t> </a:t>
            </a:r>
            <a:r>
              <a:rPr lang="de-DE" sz="2300" dirty="0" err="1"/>
              <a:t>skew</a:t>
            </a:r>
            <a:r>
              <a:rPr lang="de-DE" sz="2300" dirty="0"/>
              <a:t>-normal </a:t>
            </a:r>
            <a:r>
              <a:rPr lang="de-DE" sz="2300" dirty="0" err="1"/>
              <a:t>model</a:t>
            </a:r>
            <a:r>
              <a:rPr lang="de-DE" sz="2300" dirty="0"/>
              <a:t> </a:t>
            </a:r>
            <a:r>
              <a:rPr lang="de-DE" sz="2300" dirty="0" err="1"/>
              <a:t>of</a:t>
            </a:r>
            <a:r>
              <a:rPr lang="de-DE" sz="2300" dirty="0"/>
              <a:t> </a:t>
            </a:r>
            <a:r>
              <a:rPr lang="de-DE" sz="2300" dirty="0" err="1"/>
              <a:t>the</a:t>
            </a:r>
            <a:r>
              <a:rPr lang="de-DE" sz="2300" dirty="0"/>
              <a:t> </a:t>
            </a:r>
            <a:r>
              <a:rPr lang="de-DE" sz="2300" dirty="0" err="1"/>
              <a:t>distribution</a:t>
            </a:r>
            <a:endParaRPr lang="de-DE" sz="2300" dirty="0"/>
          </a:p>
        </p:txBody>
      </p:sp>
      <p:pic>
        <p:nvPicPr>
          <p:cNvPr id="13" name="Graphic 12" descr="Line arrow Clockwise curve">
            <a:extLst>
              <a:ext uri="{FF2B5EF4-FFF2-40B4-BE49-F238E27FC236}">
                <a16:creationId xmlns:a16="http://schemas.microsoft.com/office/drawing/2014/main" id="{86670A7D-0A68-4484-8B59-B391F18CC7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2869077" flipH="1">
            <a:off x="7819549" y="2551285"/>
            <a:ext cx="914400" cy="914400"/>
          </a:xfrm>
          <a:prstGeom prst="rect">
            <a:avLst/>
          </a:prstGeom>
        </p:spPr>
      </p:pic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F21A562C-2F66-4945-9145-DE386BC7AC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1804979-149B-404F-8E3E-22935B4DEFED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D9086EE5-594D-463C-A997-6EB9612DA31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6763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07547"/>
            <a:ext cx="10296524" cy="1283824"/>
          </a:xfrm>
        </p:spPr>
        <p:txBody>
          <a:bodyPr/>
          <a:lstStyle/>
          <a:p>
            <a:r>
              <a:rPr lang="en-US" dirty="0"/>
              <a:t>How to get empirical prediction intervals?</a:t>
            </a:r>
            <a:endParaRPr lang="en-US" cap="non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3CBECE-7013-42E2-BE7D-09713C2ADDC0}"/>
              </a:ext>
            </a:extLst>
          </p:cNvPr>
          <p:cNvSpPr/>
          <p:nvPr/>
        </p:nvSpPr>
        <p:spPr>
          <a:xfrm>
            <a:off x="3405051" y="1767840"/>
            <a:ext cx="748938" cy="130629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20A589-3516-4D21-913F-E07B9FD8B0A8}"/>
              </a:ext>
            </a:extLst>
          </p:cNvPr>
          <p:cNvSpPr/>
          <p:nvPr/>
        </p:nvSpPr>
        <p:spPr>
          <a:xfrm>
            <a:off x="5634446" y="1455174"/>
            <a:ext cx="966651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7F419C1-7ABE-4117-AFBB-C28CBBFD187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35"/>
          <a:stretch/>
        </p:blipFill>
        <p:spPr>
          <a:xfrm>
            <a:off x="4477294" y="1449459"/>
            <a:ext cx="3486787" cy="4722668"/>
          </a:xfr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24D32F0-ED6C-4952-A811-44475ACED6E3}"/>
              </a:ext>
            </a:extLst>
          </p:cNvPr>
          <p:cNvSpPr/>
          <p:nvPr/>
        </p:nvSpPr>
        <p:spPr>
          <a:xfrm>
            <a:off x="5887313" y="1527564"/>
            <a:ext cx="247650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89811577-E844-4FE8-9A7A-779092F592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E8B5F5C-2D83-4C62-B5F4-C30F65367EB2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3F2E3D04-390C-4107-9D79-88D4675244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18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07547"/>
            <a:ext cx="10296524" cy="1283824"/>
          </a:xfrm>
        </p:spPr>
        <p:txBody>
          <a:bodyPr/>
          <a:lstStyle/>
          <a:p>
            <a:r>
              <a:rPr lang="en-US" dirty="0"/>
              <a:t>Let’s validate empirical prediction intervals!</a:t>
            </a:r>
            <a:endParaRPr lang="en-US" cap="non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3CBECE-7013-42E2-BE7D-09713C2ADDC0}"/>
              </a:ext>
            </a:extLst>
          </p:cNvPr>
          <p:cNvSpPr/>
          <p:nvPr/>
        </p:nvSpPr>
        <p:spPr>
          <a:xfrm>
            <a:off x="3405051" y="1767840"/>
            <a:ext cx="748938" cy="130629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20A589-3516-4D21-913F-E07B9FD8B0A8}"/>
              </a:ext>
            </a:extLst>
          </p:cNvPr>
          <p:cNvSpPr/>
          <p:nvPr/>
        </p:nvSpPr>
        <p:spPr>
          <a:xfrm>
            <a:off x="5634446" y="1455174"/>
            <a:ext cx="966651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7F419C1-7ABE-4117-AFBB-C28CBBFD187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1449459"/>
            <a:ext cx="7092000" cy="4722668"/>
          </a:xfr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6F02477-13B7-410F-B8F5-DCF4894A3FD5}"/>
              </a:ext>
            </a:extLst>
          </p:cNvPr>
          <p:cNvSpPr/>
          <p:nvPr/>
        </p:nvSpPr>
        <p:spPr>
          <a:xfrm>
            <a:off x="2248945" y="1462671"/>
            <a:ext cx="247650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4D32F0-ED6C-4952-A811-44475ACED6E3}"/>
              </a:ext>
            </a:extLst>
          </p:cNvPr>
          <p:cNvSpPr/>
          <p:nvPr/>
        </p:nvSpPr>
        <p:spPr>
          <a:xfrm>
            <a:off x="5973038" y="1527564"/>
            <a:ext cx="247650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A2D45F6-5E7D-431D-B06A-23EC664DAE75}"/>
              </a:ext>
            </a:extLst>
          </p:cNvPr>
          <p:cNvCxnSpPr>
            <a:cxnSpLocks/>
          </p:cNvCxnSpPr>
          <p:nvPr/>
        </p:nvCxnSpPr>
        <p:spPr>
          <a:xfrm>
            <a:off x="2400300" y="4533900"/>
            <a:ext cx="0" cy="906451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9F5231-897C-47DF-8DBB-F7ED76C472B6}"/>
              </a:ext>
            </a:extLst>
          </p:cNvPr>
          <p:cNvCxnSpPr>
            <a:cxnSpLocks/>
          </p:cNvCxnSpPr>
          <p:nvPr/>
        </p:nvCxnSpPr>
        <p:spPr>
          <a:xfrm>
            <a:off x="5867400" y="4654093"/>
            <a:ext cx="0" cy="884934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7977EA3-768A-462A-8C0C-E9397F466655}"/>
              </a:ext>
            </a:extLst>
          </p:cNvPr>
          <p:cNvCxnSpPr>
            <a:cxnSpLocks/>
          </p:cNvCxnSpPr>
          <p:nvPr/>
        </p:nvCxnSpPr>
        <p:spPr>
          <a:xfrm>
            <a:off x="2743200" y="4517797"/>
            <a:ext cx="0" cy="85725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8C57066-FB0E-4E8E-8B66-50694773AD34}"/>
              </a:ext>
            </a:extLst>
          </p:cNvPr>
          <p:cNvCxnSpPr>
            <a:cxnSpLocks/>
          </p:cNvCxnSpPr>
          <p:nvPr/>
        </p:nvCxnSpPr>
        <p:spPr>
          <a:xfrm flipH="1">
            <a:off x="6201639" y="4819650"/>
            <a:ext cx="1" cy="472687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4677ABF-AC12-4EBE-8783-B93BFCC03F70}"/>
              </a:ext>
            </a:extLst>
          </p:cNvPr>
          <p:cNvCxnSpPr>
            <a:cxnSpLocks/>
          </p:cNvCxnSpPr>
          <p:nvPr/>
        </p:nvCxnSpPr>
        <p:spPr>
          <a:xfrm>
            <a:off x="3257550" y="3183954"/>
            <a:ext cx="0" cy="1102296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3C95AFC-2F1D-41D5-A9F6-835E277E12D1}"/>
              </a:ext>
            </a:extLst>
          </p:cNvPr>
          <p:cNvCxnSpPr>
            <a:cxnSpLocks/>
          </p:cNvCxnSpPr>
          <p:nvPr/>
        </p:nvCxnSpPr>
        <p:spPr>
          <a:xfrm>
            <a:off x="6690798" y="2782671"/>
            <a:ext cx="0" cy="1851688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A5EC653-EA6C-493E-8ADA-677C8556C533}"/>
              </a:ext>
            </a:extLst>
          </p:cNvPr>
          <p:cNvSpPr txBox="1"/>
          <p:nvPr/>
        </p:nvSpPr>
        <p:spPr>
          <a:xfrm>
            <a:off x="7315696" y="2372432"/>
            <a:ext cx="916115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Winter</a:t>
            </a:r>
          </a:p>
        </p:txBody>
      </p:sp>
      <p:pic>
        <p:nvPicPr>
          <p:cNvPr id="31" name="Graphic 30" descr="Line arrow Clockwise curve">
            <a:extLst>
              <a:ext uri="{FF2B5EF4-FFF2-40B4-BE49-F238E27FC236}">
                <a16:creationId xmlns:a16="http://schemas.microsoft.com/office/drawing/2014/main" id="{E237E570-157A-4870-BF98-D14BB741CF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595090" flipH="1" flipV="1">
            <a:off x="6908069" y="2515915"/>
            <a:ext cx="914400" cy="914400"/>
          </a:xfrm>
          <a:prstGeom prst="rect">
            <a:avLst/>
          </a:prstGeom>
        </p:spPr>
      </p:pic>
      <p:pic>
        <p:nvPicPr>
          <p:cNvPr id="33" name="Graphic 32" descr="Line arrow Clockwise curve">
            <a:extLst>
              <a:ext uri="{FF2B5EF4-FFF2-40B4-BE49-F238E27FC236}">
                <a16:creationId xmlns:a16="http://schemas.microsoft.com/office/drawing/2014/main" id="{6F67E251-B953-4C83-AB43-11D8D77C84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774589">
            <a:off x="4811994" y="5130839"/>
            <a:ext cx="914400" cy="9144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354F19C7-9D10-49A0-9054-D450AD0A07FF}"/>
              </a:ext>
            </a:extLst>
          </p:cNvPr>
          <p:cNvSpPr txBox="1"/>
          <p:nvPr/>
        </p:nvSpPr>
        <p:spPr>
          <a:xfrm>
            <a:off x="4438031" y="5972935"/>
            <a:ext cx="1196415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Summer</a:t>
            </a:r>
          </a:p>
        </p:txBody>
      </p:sp>
      <p:sp>
        <p:nvSpPr>
          <p:cNvPr id="35" name="Footer Placeholder 2">
            <a:extLst>
              <a:ext uri="{FF2B5EF4-FFF2-40B4-BE49-F238E27FC236}">
                <a16:creationId xmlns:a16="http://schemas.microsoft.com/office/drawing/2014/main" id="{E83B3DD3-6FD4-4397-95CB-7C28D2FF14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2</a:t>
            </a:fld>
            <a:endParaRPr lang="de-DE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90AC521-9115-4AB6-95E4-3AB6A6F3308E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id="{105F1B09-24BB-4052-96C9-91E95C0D093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2185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07547"/>
            <a:ext cx="10296524" cy="1283824"/>
          </a:xfrm>
        </p:spPr>
        <p:txBody>
          <a:bodyPr/>
          <a:lstStyle/>
          <a:p>
            <a:r>
              <a:rPr lang="en-US" dirty="0"/>
              <a:t>Let’s validate empirical prediction intervals!</a:t>
            </a:r>
            <a:endParaRPr lang="en-US" cap="non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3CBECE-7013-42E2-BE7D-09713C2ADDC0}"/>
              </a:ext>
            </a:extLst>
          </p:cNvPr>
          <p:cNvSpPr/>
          <p:nvPr/>
        </p:nvSpPr>
        <p:spPr>
          <a:xfrm>
            <a:off x="3405051" y="1767840"/>
            <a:ext cx="748938" cy="130629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20A589-3516-4D21-913F-E07B9FD8B0A8}"/>
              </a:ext>
            </a:extLst>
          </p:cNvPr>
          <p:cNvSpPr/>
          <p:nvPr/>
        </p:nvSpPr>
        <p:spPr>
          <a:xfrm>
            <a:off x="5634446" y="1455174"/>
            <a:ext cx="966651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7F419C1-7ABE-4117-AFBB-C28CBBFD187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1449459"/>
            <a:ext cx="7092000" cy="4722668"/>
          </a:xfr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6F02477-13B7-410F-B8F5-DCF4894A3FD5}"/>
              </a:ext>
            </a:extLst>
          </p:cNvPr>
          <p:cNvSpPr/>
          <p:nvPr/>
        </p:nvSpPr>
        <p:spPr>
          <a:xfrm>
            <a:off x="2248945" y="1462671"/>
            <a:ext cx="247650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4D32F0-ED6C-4952-A811-44475ACED6E3}"/>
              </a:ext>
            </a:extLst>
          </p:cNvPr>
          <p:cNvSpPr/>
          <p:nvPr/>
        </p:nvSpPr>
        <p:spPr>
          <a:xfrm>
            <a:off x="5973038" y="1527564"/>
            <a:ext cx="247650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A2D45F6-5E7D-431D-B06A-23EC664DAE75}"/>
              </a:ext>
            </a:extLst>
          </p:cNvPr>
          <p:cNvCxnSpPr>
            <a:cxnSpLocks/>
          </p:cNvCxnSpPr>
          <p:nvPr/>
        </p:nvCxnSpPr>
        <p:spPr>
          <a:xfrm>
            <a:off x="2304884" y="2367888"/>
            <a:ext cx="0" cy="906451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9F5231-897C-47DF-8DBB-F7ED76C472B6}"/>
              </a:ext>
            </a:extLst>
          </p:cNvPr>
          <p:cNvCxnSpPr>
            <a:cxnSpLocks/>
          </p:cNvCxnSpPr>
          <p:nvPr/>
        </p:nvCxnSpPr>
        <p:spPr>
          <a:xfrm>
            <a:off x="5859448" y="2389405"/>
            <a:ext cx="0" cy="884934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7977EA3-768A-462A-8C0C-E9397F466655}"/>
              </a:ext>
            </a:extLst>
          </p:cNvPr>
          <p:cNvCxnSpPr>
            <a:cxnSpLocks/>
          </p:cNvCxnSpPr>
          <p:nvPr/>
        </p:nvCxnSpPr>
        <p:spPr>
          <a:xfrm>
            <a:off x="2496596" y="2417089"/>
            <a:ext cx="0" cy="85725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8C57066-FB0E-4E8E-8B66-50694773AD34}"/>
              </a:ext>
            </a:extLst>
          </p:cNvPr>
          <p:cNvCxnSpPr>
            <a:cxnSpLocks/>
          </p:cNvCxnSpPr>
          <p:nvPr/>
        </p:nvCxnSpPr>
        <p:spPr>
          <a:xfrm flipH="1">
            <a:off x="6039824" y="2801652"/>
            <a:ext cx="1" cy="472687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4677ABF-AC12-4EBE-8783-B93BFCC03F70}"/>
              </a:ext>
            </a:extLst>
          </p:cNvPr>
          <p:cNvCxnSpPr>
            <a:cxnSpLocks/>
          </p:cNvCxnSpPr>
          <p:nvPr/>
        </p:nvCxnSpPr>
        <p:spPr>
          <a:xfrm>
            <a:off x="2677105" y="2172043"/>
            <a:ext cx="0" cy="1102296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3C95AFC-2F1D-41D5-A9F6-835E277E12D1}"/>
              </a:ext>
            </a:extLst>
          </p:cNvPr>
          <p:cNvCxnSpPr>
            <a:cxnSpLocks/>
          </p:cNvCxnSpPr>
          <p:nvPr/>
        </p:nvCxnSpPr>
        <p:spPr>
          <a:xfrm>
            <a:off x="6219256" y="1422651"/>
            <a:ext cx="0" cy="1851688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63C9EE3-E854-4BBB-8A06-4A5B80649DE9}"/>
              </a:ext>
            </a:extLst>
          </p:cNvPr>
          <p:cNvSpPr txBox="1"/>
          <p:nvPr/>
        </p:nvSpPr>
        <p:spPr>
          <a:xfrm>
            <a:off x="7315696" y="2372432"/>
            <a:ext cx="916115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Winter</a:t>
            </a:r>
          </a:p>
        </p:txBody>
      </p:sp>
      <p:pic>
        <p:nvPicPr>
          <p:cNvPr id="19" name="Graphic 18" descr="Line arrow Clockwise curve">
            <a:extLst>
              <a:ext uri="{FF2B5EF4-FFF2-40B4-BE49-F238E27FC236}">
                <a16:creationId xmlns:a16="http://schemas.microsoft.com/office/drawing/2014/main" id="{082A413F-8408-4AB2-9060-E23C2A6D8E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595090" flipH="1" flipV="1">
            <a:off x="6908069" y="2515915"/>
            <a:ext cx="914400" cy="914400"/>
          </a:xfrm>
          <a:prstGeom prst="rect">
            <a:avLst/>
          </a:prstGeom>
        </p:spPr>
      </p:pic>
      <p:pic>
        <p:nvPicPr>
          <p:cNvPr id="22" name="Graphic 21" descr="Line arrow Clockwise curve">
            <a:extLst>
              <a:ext uri="{FF2B5EF4-FFF2-40B4-BE49-F238E27FC236}">
                <a16:creationId xmlns:a16="http://schemas.microsoft.com/office/drawing/2014/main" id="{B5EBF40C-C1C3-4505-87E7-FFFDC740BA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774589">
            <a:off x="4811994" y="5130839"/>
            <a:ext cx="914400" cy="9144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A308FC0-051D-41D9-B740-FBDC8F5F89FF}"/>
              </a:ext>
            </a:extLst>
          </p:cNvPr>
          <p:cNvSpPr txBox="1"/>
          <p:nvPr/>
        </p:nvSpPr>
        <p:spPr>
          <a:xfrm>
            <a:off x="4438031" y="5972935"/>
            <a:ext cx="1196415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Summ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C1D89E-6DB6-48C0-89DB-BD6CA60BC1CB}"/>
              </a:ext>
            </a:extLst>
          </p:cNvPr>
          <p:cNvSpPr txBox="1"/>
          <p:nvPr/>
        </p:nvSpPr>
        <p:spPr>
          <a:xfrm>
            <a:off x="8607318" y="2979386"/>
            <a:ext cx="3164439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dirty="0"/>
              <a:t>Nominal </a:t>
            </a:r>
            <a:r>
              <a:rPr lang="de-DE" sz="2000" dirty="0" err="1"/>
              <a:t>coverage</a:t>
            </a:r>
            <a:r>
              <a:rPr lang="de-DE" sz="2000" dirty="0"/>
              <a:t>: 90%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547557B-F6B3-407C-9CA0-23C094876E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4753882"/>
              </p:ext>
            </p:extLst>
          </p:nvPr>
        </p:nvGraphicFramePr>
        <p:xfrm>
          <a:off x="8607318" y="3354509"/>
          <a:ext cx="3062676" cy="15544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71460">
                  <a:extLst>
                    <a:ext uri="{9D8B030D-6E8A-4147-A177-3AD203B41FA5}">
                      <a16:colId xmlns:a16="http://schemas.microsoft.com/office/drawing/2014/main" val="1503449117"/>
                    </a:ext>
                  </a:extLst>
                </a:gridCol>
                <a:gridCol w="1009816">
                  <a:extLst>
                    <a:ext uri="{9D8B030D-6E8A-4147-A177-3AD203B41FA5}">
                      <a16:colId xmlns:a16="http://schemas.microsoft.com/office/drawing/2014/main" val="2157935589"/>
                    </a:ext>
                  </a:extLst>
                </a:gridCol>
                <a:gridCol w="881400">
                  <a:extLst>
                    <a:ext uri="{9D8B030D-6E8A-4147-A177-3AD203B41FA5}">
                      <a16:colId xmlns:a16="http://schemas.microsoft.com/office/drawing/2014/main" val="1959680078"/>
                    </a:ext>
                  </a:extLst>
                </a:gridCol>
              </a:tblGrid>
              <a:tr h="503498"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Cove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/>
                        <a:t>Interval</a:t>
                      </a:r>
                      <a:r>
                        <a:rPr lang="de-DE" sz="1400" dirty="0"/>
                        <a:t> sc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2310735"/>
                  </a:ext>
                </a:extLst>
              </a:tr>
              <a:tr h="503498">
                <a:tc>
                  <a:txBody>
                    <a:bodyPr/>
                    <a:lstStyle/>
                    <a:p>
                      <a:pPr algn="l"/>
                      <a:r>
                        <a:rPr lang="de-DE" sz="1400" dirty="0"/>
                        <a:t>Negative </a:t>
                      </a:r>
                      <a:r>
                        <a:rPr lang="de-DE" sz="1400" dirty="0" err="1"/>
                        <a:t>binomial</a:t>
                      </a:r>
                      <a:r>
                        <a:rPr lang="de-DE" sz="1400" dirty="0"/>
                        <a:t> P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0.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576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8015850"/>
                  </a:ext>
                </a:extLst>
              </a:tr>
              <a:tr h="503498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Empirical</a:t>
                      </a:r>
                      <a:r>
                        <a:rPr lang="de-DE" sz="1400" dirty="0"/>
                        <a:t> P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0.8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/>
                        <a:t>53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9261080"/>
                  </a:ext>
                </a:extLst>
              </a:tr>
            </a:tbl>
          </a:graphicData>
        </a:graphic>
      </p:graphicFrame>
      <p:sp>
        <p:nvSpPr>
          <p:cNvPr id="24" name="Footer Placeholder 2">
            <a:extLst>
              <a:ext uri="{FF2B5EF4-FFF2-40B4-BE49-F238E27FC236}">
                <a16:creationId xmlns:a16="http://schemas.microsoft.com/office/drawing/2014/main" id="{D7BA6FC0-9F3C-4869-8DF8-8745080A08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3</a:t>
            </a:fld>
            <a:endParaRPr lang="de-DE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6D35839-23C2-40BD-AA4F-8622B2DDFB40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8FEACE58-524D-4F12-B2CC-86648B1CB0B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8876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FFA96B0-D45B-4AF0-9B9A-2BC5CA12E8EA}"/>
              </a:ext>
            </a:extLst>
          </p:cNvPr>
          <p:cNvSpPr/>
          <p:nvPr/>
        </p:nvSpPr>
        <p:spPr>
          <a:xfrm>
            <a:off x="2449475" y="1591301"/>
            <a:ext cx="7293049" cy="3675397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800" b="1" dirty="0">
                <a:solidFill>
                  <a:schemeClr val="bg1"/>
                </a:solidFill>
              </a:rPr>
              <a:t>At the current stage of the COVID-19 pandemic, can we detect a 10% increase in excess deaths or would it disappear into the uncertainty of the expected deaths forecasts? </a:t>
            </a:r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23582FD6-738E-4A11-A9ED-3BE839391D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4</a:t>
            </a:fld>
            <a:endParaRPr lang="de-DE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CC0098-4D8E-4D35-96F0-3B89E925700A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C3D706D-91A5-4812-8F23-51AF95083B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754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13F25FA-61A5-44E7-A676-2E2D467E79BF}"/>
              </a:ext>
            </a:extLst>
          </p:cNvPr>
          <p:cNvSpPr txBox="1"/>
          <p:nvPr/>
        </p:nvSpPr>
        <p:spPr>
          <a:xfrm>
            <a:off x="947737" y="765427"/>
            <a:ext cx="8649932" cy="7437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300" b="1" cap="all" spc="100" dirty="0">
                <a:solidFill>
                  <a:srgbClr val="3A706D"/>
                </a:solidFill>
                <a:latin typeface="+mj-lt"/>
              </a:rPr>
              <a:t>Can we detect a 10% increase in excess deaths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2300" b="1" cap="all" spc="100" dirty="0">
                <a:solidFill>
                  <a:srgbClr val="3A706D"/>
                </a:solidFill>
                <a:latin typeface="+mj-lt"/>
              </a:rPr>
              <a:t>at the current stage of the COVID-19 pandemic?</a:t>
            </a:r>
            <a:endParaRPr lang="de-DE" sz="2300" b="1" cap="all" spc="100" dirty="0">
              <a:solidFill>
                <a:srgbClr val="3A706D"/>
              </a:solidFill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C60A70-FCD4-4676-993E-7645A39867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1896324"/>
            <a:ext cx="6480000" cy="4315127"/>
          </a:xfrm>
          <a:prstGeom prst="rect">
            <a:avLst/>
          </a:prstGeom>
        </p:spPr>
      </p:pic>
      <p:sp>
        <p:nvSpPr>
          <p:cNvPr id="8" name="Right Brace 7">
            <a:extLst>
              <a:ext uri="{FF2B5EF4-FFF2-40B4-BE49-F238E27FC236}">
                <a16:creationId xmlns:a16="http://schemas.microsoft.com/office/drawing/2014/main" id="{80E9B574-3B69-48BB-B6EE-C4D255D0B9B0}"/>
              </a:ext>
            </a:extLst>
          </p:cNvPr>
          <p:cNvSpPr/>
          <p:nvPr/>
        </p:nvSpPr>
        <p:spPr>
          <a:xfrm>
            <a:off x="7579177" y="4844070"/>
            <a:ext cx="419101" cy="807448"/>
          </a:xfrm>
          <a:prstGeom prst="rightBrace">
            <a:avLst>
              <a:gd name="adj1" fmla="val 24242"/>
              <a:gd name="adj2" fmla="val 50811"/>
            </a:avLst>
          </a:prstGeom>
          <a:ln w="28575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265D14-5F1E-4BF5-AA9D-B9C0C236FF5D}"/>
              </a:ext>
            </a:extLst>
          </p:cNvPr>
          <p:cNvSpPr/>
          <p:nvPr/>
        </p:nvSpPr>
        <p:spPr>
          <a:xfrm>
            <a:off x="8233137" y="4957281"/>
            <a:ext cx="1924050" cy="581025"/>
          </a:xfrm>
          <a:prstGeom prst="rect">
            <a:avLst/>
          </a:prstGeom>
          <a:solidFill>
            <a:srgbClr val="20637A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600" b="1" dirty="0">
                <a:solidFill>
                  <a:schemeClr val="bg1"/>
                </a:solidFill>
              </a:rPr>
              <a:t>Yes!</a:t>
            </a: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F222AEE5-E61E-44D2-8134-FEC78B2B41A7}"/>
              </a:ext>
            </a:extLst>
          </p:cNvPr>
          <p:cNvSpPr/>
          <p:nvPr/>
        </p:nvSpPr>
        <p:spPr>
          <a:xfrm>
            <a:off x="7579177" y="2276257"/>
            <a:ext cx="419101" cy="2567813"/>
          </a:xfrm>
          <a:prstGeom prst="rightBrace">
            <a:avLst>
              <a:gd name="adj1" fmla="val 24242"/>
              <a:gd name="adj2" fmla="val 50811"/>
            </a:avLst>
          </a:prstGeom>
          <a:ln w="28575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D458A9-C1F7-4389-A43B-7C471B525B90}"/>
              </a:ext>
            </a:extLst>
          </p:cNvPr>
          <p:cNvSpPr/>
          <p:nvPr/>
        </p:nvSpPr>
        <p:spPr>
          <a:xfrm>
            <a:off x="8233137" y="3269650"/>
            <a:ext cx="1924050" cy="581025"/>
          </a:xfrm>
          <a:prstGeom prst="rect">
            <a:avLst/>
          </a:prstGeom>
          <a:solidFill>
            <a:srgbClr val="D23B84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600" b="1" dirty="0" err="1">
                <a:solidFill>
                  <a:schemeClr val="bg1"/>
                </a:solidFill>
              </a:rPr>
              <a:t>No</a:t>
            </a:r>
            <a:r>
              <a:rPr lang="de-DE" sz="16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BDC482D-4C16-4D0C-B923-3FBCE5DD245C}"/>
              </a:ext>
            </a:extLst>
          </p:cNvPr>
          <p:cNvSpPr txBox="1"/>
          <p:nvPr/>
        </p:nvSpPr>
        <p:spPr>
          <a:xfrm>
            <a:off x="5287199" y="2429270"/>
            <a:ext cx="916115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Winter</a:t>
            </a:r>
          </a:p>
        </p:txBody>
      </p:sp>
      <p:pic>
        <p:nvPicPr>
          <p:cNvPr id="13" name="Graphic 12" descr="Line arrow Clockwise curve">
            <a:extLst>
              <a:ext uri="{FF2B5EF4-FFF2-40B4-BE49-F238E27FC236}">
                <a16:creationId xmlns:a16="http://schemas.microsoft.com/office/drawing/2014/main" id="{1C01496E-D2FC-4B10-936C-8198E61D81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595090" flipH="1" flipV="1">
            <a:off x="4879572" y="2572753"/>
            <a:ext cx="914400" cy="914400"/>
          </a:xfrm>
          <a:prstGeom prst="rect">
            <a:avLst/>
          </a:prstGeom>
        </p:spPr>
      </p:pic>
      <p:pic>
        <p:nvPicPr>
          <p:cNvPr id="14" name="Graphic 13" descr="Line arrow Clockwise curve">
            <a:extLst>
              <a:ext uri="{FF2B5EF4-FFF2-40B4-BE49-F238E27FC236}">
                <a16:creationId xmlns:a16="http://schemas.microsoft.com/office/drawing/2014/main" id="{42C5BC18-2CD4-467A-9856-BB9DA34B61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4774589">
            <a:off x="2037262" y="5033244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67535CD-0E0F-4C8A-8A07-2BF3C79A0D51}"/>
              </a:ext>
            </a:extLst>
          </p:cNvPr>
          <p:cNvSpPr txBox="1"/>
          <p:nvPr/>
        </p:nvSpPr>
        <p:spPr>
          <a:xfrm>
            <a:off x="1663299" y="5875340"/>
            <a:ext cx="1196415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Summer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D845049A-AC58-4491-BC08-F30C82385F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5</a:t>
            </a:fld>
            <a:endParaRPr lang="de-DE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4770B5A-C670-4C99-9B51-A42CDD48B1E3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E0D847BD-A842-4CF3-8224-9490BDC6ADA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3909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/>
      <p:bldP spid="1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B03CFA32-856F-1246-B766-33665787BB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1544" b="23928"/>
          <a:stretch/>
        </p:blipFill>
        <p:spPr>
          <a:xfrm>
            <a:off x="1216025" y="2020711"/>
            <a:ext cx="9747249" cy="4086578"/>
          </a:xfrm>
          <a:solidFill>
            <a:srgbClr val="F1F1F1">
              <a:alpha val="60000"/>
            </a:srgbClr>
          </a:solidFill>
        </p:spPr>
      </p:pic>
      <p:sp>
        <p:nvSpPr>
          <p:cNvPr id="14" name="Untertitel 6">
            <a:extLst>
              <a:ext uri="{FF2B5EF4-FFF2-40B4-BE49-F238E27FC236}">
                <a16:creationId xmlns:a16="http://schemas.microsoft.com/office/drawing/2014/main" id="{D084D3FC-928A-1747-A9E7-597DCA09984F}"/>
              </a:ext>
            </a:extLst>
          </p:cNvPr>
          <p:cNvSpPr txBox="1">
            <a:spLocks/>
          </p:cNvSpPr>
          <p:nvPr/>
        </p:nvSpPr>
        <p:spPr>
          <a:xfrm>
            <a:off x="4603133" y="3562941"/>
            <a:ext cx="2622769" cy="14721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/>
            </a:pPr>
            <a:endParaRPr kumimoji="0" lang="de-DE" sz="1600" b="1" i="0" u="none" strike="noStrike" kern="600" cap="none" spc="40" normalizeH="0" baseline="0" noProof="0" dirty="0">
              <a:ln>
                <a:noFill/>
              </a:ln>
              <a:solidFill>
                <a:srgbClr val="006C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C041DE-A5C0-4E1C-B79F-EC455205FE12}"/>
              </a:ext>
            </a:extLst>
          </p:cNvPr>
          <p:cNvSpPr/>
          <p:nvPr/>
        </p:nvSpPr>
        <p:spPr>
          <a:xfrm>
            <a:off x="1210492" y="2008736"/>
            <a:ext cx="9747249" cy="4086578"/>
          </a:xfrm>
          <a:prstGeom prst="rect">
            <a:avLst/>
          </a:prstGeom>
          <a:blipFill dpi="0" rotWithShape="1">
            <a:blip r:embed="rId4">
              <a:alphaModFix amt="3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  <a:tailEnd type="triangle" w="lg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>
                <a:srgbClr val="116656"/>
              </a:buClr>
              <a:buSzPct val="120000"/>
              <a:buFontTx/>
              <a:buNone/>
              <a:tabLst/>
              <a:defRPr/>
            </a:pP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4A5A453-0714-9B49-B700-ACB6D9B38A79}"/>
              </a:ext>
            </a:extLst>
          </p:cNvPr>
          <p:cNvSpPr txBox="1"/>
          <p:nvPr/>
        </p:nvSpPr>
        <p:spPr>
          <a:xfrm>
            <a:off x="2633518" y="3717370"/>
            <a:ext cx="3187593" cy="16927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carda Duers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IDR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lsink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erst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3BE8AE-8253-0048-98E3-59AD98755973}"/>
              </a:ext>
            </a:extLst>
          </p:cNvPr>
          <p:cNvSpPr txBox="1"/>
          <p:nvPr/>
        </p:nvSpPr>
        <p:spPr>
          <a:xfrm>
            <a:off x="6370890" y="3717370"/>
            <a:ext cx="4331944" cy="16927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nas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öley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6C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ID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oeley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4D562ECC-A448-4D87-8502-35C35C12C1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1840089"/>
          </a:xfrm>
        </p:spPr>
        <p:txBody>
          <a:bodyPr/>
          <a:lstStyle/>
          <a:p>
            <a:r>
              <a:rPr lang="en-US" dirty="0"/>
              <a:t>Empirical Prediction intervals are great!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C40C71E-7DC3-468A-8333-5A7976C01865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FEEE43C-F712-4840-B0F2-EDE5B10437C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236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any more deaths occur because of Covid-19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23C519-B725-43D6-9A45-7ECC17A57DAA}"/>
              </a:ext>
            </a:extLst>
          </p:cNvPr>
          <p:cNvSpPr/>
          <p:nvPr/>
        </p:nvSpPr>
        <p:spPr>
          <a:xfrm>
            <a:off x="4674507" y="2845792"/>
            <a:ext cx="2842985" cy="1159152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2300" b="1" dirty="0" err="1">
                <a:solidFill>
                  <a:schemeClr val="bg1"/>
                </a:solidFill>
              </a:rPr>
              <a:t>Excess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Deaths</a:t>
            </a:r>
            <a:endParaRPr lang="de-DE" sz="2300" b="1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FD7D36-2BF2-43FC-AACA-917C70E67289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4F952C2-1209-429B-8C8B-C3CD0BE967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988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any more deaths occur because of Covid-19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23C519-B725-43D6-9A45-7ECC17A57DAA}"/>
              </a:ext>
            </a:extLst>
          </p:cNvPr>
          <p:cNvSpPr/>
          <p:nvPr/>
        </p:nvSpPr>
        <p:spPr>
          <a:xfrm>
            <a:off x="713586" y="2849424"/>
            <a:ext cx="2842985" cy="1159152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2300" b="1" dirty="0" err="1">
                <a:solidFill>
                  <a:schemeClr val="bg1"/>
                </a:solidFill>
              </a:rPr>
              <a:t>Excess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Deaths</a:t>
            </a:r>
            <a:endParaRPr lang="de-DE" sz="2300" b="1" dirty="0">
              <a:solidFill>
                <a:schemeClr val="bg1"/>
              </a:solidFill>
            </a:endParaRPr>
          </a:p>
        </p:txBody>
      </p:sp>
      <p:sp>
        <p:nvSpPr>
          <p:cNvPr id="2" name="Equals 1">
            <a:extLst>
              <a:ext uri="{FF2B5EF4-FFF2-40B4-BE49-F238E27FC236}">
                <a16:creationId xmlns:a16="http://schemas.microsoft.com/office/drawing/2014/main" id="{1B8E5B4C-431F-4B6B-84D2-DB6718256A6B}"/>
              </a:ext>
            </a:extLst>
          </p:cNvPr>
          <p:cNvSpPr/>
          <p:nvPr/>
        </p:nvSpPr>
        <p:spPr>
          <a:xfrm>
            <a:off x="3658339" y="2971800"/>
            <a:ext cx="914400" cy="914400"/>
          </a:xfrm>
          <a:prstGeom prst="mathEqual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7AE0E0-E588-4A63-BBE5-9FF499BAC915}"/>
              </a:ext>
            </a:extLst>
          </p:cNvPr>
          <p:cNvSpPr/>
          <p:nvPr/>
        </p:nvSpPr>
        <p:spPr>
          <a:xfrm>
            <a:off x="4674507" y="2849424"/>
            <a:ext cx="2842985" cy="1159152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2300" b="1" dirty="0" err="1">
                <a:solidFill>
                  <a:schemeClr val="bg1"/>
                </a:solidFill>
              </a:rPr>
              <a:t>Observed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Deaths</a:t>
            </a:r>
            <a:endParaRPr lang="de-DE" sz="2300" b="1" dirty="0">
              <a:solidFill>
                <a:schemeClr val="bg1"/>
              </a:solidFill>
            </a:endParaRPr>
          </a:p>
        </p:txBody>
      </p:sp>
      <p:sp>
        <p:nvSpPr>
          <p:cNvPr id="5" name="Minus Sign 4">
            <a:extLst>
              <a:ext uri="{FF2B5EF4-FFF2-40B4-BE49-F238E27FC236}">
                <a16:creationId xmlns:a16="http://schemas.microsoft.com/office/drawing/2014/main" id="{AB83E6B9-905E-4642-9A0A-FC1C5DD15E04}"/>
              </a:ext>
            </a:extLst>
          </p:cNvPr>
          <p:cNvSpPr/>
          <p:nvPr/>
        </p:nvSpPr>
        <p:spPr>
          <a:xfrm>
            <a:off x="7619260" y="2971800"/>
            <a:ext cx="914400" cy="914400"/>
          </a:xfrm>
          <a:prstGeom prst="mathMinus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455702-26B4-4F7A-A20D-350EFDC6D47E}"/>
              </a:ext>
            </a:extLst>
          </p:cNvPr>
          <p:cNvSpPr/>
          <p:nvPr/>
        </p:nvSpPr>
        <p:spPr>
          <a:xfrm>
            <a:off x="8635428" y="2849424"/>
            <a:ext cx="2842985" cy="1159152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2300" b="1" dirty="0" err="1">
                <a:solidFill>
                  <a:schemeClr val="bg1"/>
                </a:solidFill>
              </a:rPr>
              <a:t>Expected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Deaths</a:t>
            </a:r>
            <a:endParaRPr lang="de-DE" sz="2300" b="1" dirty="0">
              <a:solidFill>
                <a:schemeClr val="bg1"/>
              </a:solidFill>
            </a:endParaRP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5E858875-A8AC-4D72-AEC4-E9268C4F44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9A4C65D-77F2-4972-BA34-1F50A7894A9E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1A910D8-BD30-49C7-BDCC-FE351443097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372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any more deaths occur because of Covid-19?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BD8C591-817F-4BE8-8DF4-6182B35226CD}"/>
              </a:ext>
            </a:extLst>
          </p:cNvPr>
          <p:cNvSpPr/>
          <p:nvPr/>
        </p:nvSpPr>
        <p:spPr>
          <a:xfrm>
            <a:off x="4121797" y="2220686"/>
            <a:ext cx="3948404" cy="2416628"/>
          </a:xfrm>
          <a:prstGeom prst="cloud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455702-26B4-4F7A-A20D-350EFDC6D47E}"/>
              </a:ext>
            </a:extLst>
          </p:cNvPr>
          <p:cNvSpPr/>
          <p:nvPr/>
        </p:nvSpPr>
        <p:spPr>
          <a:xfrm>
            <a:off x="4674507" y="2849424"/>
            <a:ext cx="2842985" cy="1159152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2300" b="1" dirty="0" err="1">
                <a:solidFill>
                  <a:schemeClr val="bg1"/>
                </a:solidFill>
              </a:rPr>
              <a:t>Expected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Deaths</a:t>
            </a:r>
            <a:endParaRPr lang="de-DE" sz="2300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643A77-8A99-4568-AE74-A97D7A5E60D6}"/>
              </a:ext>
            </a:extLst>
          </p:cNvPr>
          <p:cNvSpPr txBox="1"/>
          <p:nvPr/>
        </p:nvSpPr>
        <p:spPr>
          <a:xfrm>
            <a:off x="1039906" y="5289000"/>
            <a:ext cx="6194612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Short-term </a:t>
            </a:r>
            <a:r>
              <a:rPr lang="de-DE" sz="2300" dirty="0" err="1"/>
              <a:t>mortality</a:t>
            </a:r>
            <a:r>
              <a:rPr lang="de-DE" sz="2300" dirty="0"/>
              <a:t> </a:t>
            </a:r>
            <a:r>
              <a:rPr lang="de-DE" sz="2300" dirty="0" err="1"/>
              <a:t>forecasts</a:t>
            </a:r>
            <a:r>
              <a:rPr lang="de-DE" sz="2300" dirty="0"/>
              <a:t> </a:t>
            </a:r>
            <a:r>
              <a:rPr lang="de-DE" sz="2300" dirty="0" err="1"/>
              <a:t>of</a:t>
            </a:r>
            <a:r>
              <a:rPr lang="de-DE" sz="2300" dirty="0"/>
              <a:t> </a:t>
            </a:r>
            <a:r>
              <a:rPr lang="de-DE" sz="2300" dirty="0" err="1"/>
              <a:t>weekly</a:t>
            </a:r>
            <a:r>
              <a:rPr lang="de-DE" sz="2300" dirty="0"/>
              <a:t> </a:t>
            </a:r>
            <a:r>
              <a:rPr lang="de-DE" sz="2300" dirty="0" err="1"/>
              <a:t>deaths</a:t>
            </a:r>
            <a:endParaRPr lang="de-DE" sz="2300" dirty="0"/>
          </a:p>
        </p:txBody>
      </p:sp>
      <p:pic>
        <p:nvPicPr>
          <p:cNvPr id="12" name="Graphic 11" descr="Line arrow Clockwise curve">
            <a:extLst>
              <a:ext uri="{FF2B5EF4-FFF2-40B4-BE49-F238E27FC236}">
                <a16:creationId xmlns:a16="http://schemas.microsoft.com/office/drawing/2014/main" id="{620A7AB1-B26C-4E00-8445-D62F577F59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4409495">
            <a:off x="3111744" y="4157687"/>
            <a:ext cx="914400" cy="914400"/>
          </a:xfrm>
          <a:prstGeom prst="rect">
            <a:avLst/>
          </a:prstGeom>
        </p:spPr>
      </p:pic>
      <p:pic>
        <p:nvPicPr>
          <p:cNvPr id="14" name="Graphic 13" descr="Question mark">
            <a:extLst>
              <a:ext uri="{FF2B5EF4-FFF2-40B4-BE49-F238E27FC236}">
                <a16:creationId xmlns:a16="http://schemas.microsoft.com/office/drawing/2014/main" id="{A050113D-B226-4344-968B-BE561EA65F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44234" y="2616341"/>
            <a:ext cx="466165" cy="466165"/>
          </a:xfrm>
          <a:prstGeom prst="rect">
            <a:avLst/>
          </a:prstGeom>
        </p:spPr>
      </p:pic>
      <p:pic>
        <p:nvPicPr>
          <p:cNvPr id="15" name="Graphic 14" descr="Question mark">
            <a:extLst>
              <a:ext uri="{FF2B5EF4-FFF2-40B4-BE49-F238E27FC236}">
                <a16:creationId xmlns:a16="http://schemas.microsoft.com/office/drawing/2014/main" id="{48E737AA-2B2A-4C08-91F2-8F300EDC35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58587" y="3760192"/>
            <a:ext cx="466165" cy="466165"/>
          </a:xfrm>
          <a:prstGeom prst="rect">
            <a:avLst/>
          </a:prstGeom>
        </p:spPr>
      </p:pic>
      <p:pic>
        <p:nvPicPr>
          <p:cNvPr id="16" name="Graphic 15" descr="Question mark">
            <a:extLst>
              <a:ext uri="{FF2B5EF4-FFF2-40B4-BE49-F238E27FC236}">
                <a16:creationId xmlns:a16="http://schemas.microsoft.com/office/drawing/2014/main" id="{B560E660-7F33-4335-A144-606087EAEA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66850" y="2631643"/>
            <a:ext cx="466165" cy="466165"/>
          </a:xfrm>
          <a:prstGeom prst="rect">
            <a:avLst/>
          </a:prstGeom>
        </p:spPr>
      </p:pic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90018736-6C53-4581-AE6E-5228DA169D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FA72C0E-B145-4A78-AE56-99B2935BE9B3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C550649C-F25D-4E53-B8AE-7316740DA34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52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DC81DD4-25B1-4CB3-AEA8-753D6165E32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prediction intervals?</a:t>
            </a:r>
            <a:br>
              <a:rPr lang="en-US" dirty="0"/>
            </a:br>
            <a:br>
              <a:rPr lang="en-US" dirty="0"/>
            </a:br>
            <a:r>
              <a:rPr lang="en-US" cap="none" dirty="0"/>
              <a:t>Parametric prediction intervals: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E573B2EA-3D54-418A-AAD2-B1B6139CB6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EF39CBF-BABC-474F-9472-9F05F09A79C1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7C5D9F32-5D44-45A9-A0E6-2FE380AC87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2796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prediction intervals?</a:t>
            </a:r>
            <a:br>
              <a:rPr lang="en-US" dirty="0"/>
            </a:br>
            <a:br>
              <a:rPr lang="en-US" dirty="0"/>
            </a:br>
            <a:r>
              <a:rPr lang="en-US" cap="none" dirty="0"/>
              <a:t>Empirical prediction intervals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FA96B0-D45B-4AF0-9B9A-2BC5CA12E8EA}"/>
              </a:ext>
            </a:extLst>
          </p:cNvPr>
          <p:cNvSpPr/>
          <p:nvPr/>
        </p:nvSpPr>
        <p:spPr>
          <a:xfrm>
            <a:off x="3592286" y="2812868"/>
            <a:ext cx="5007428" cy="2412275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b="1" dirty="0">
                <a:solidFill>
                  <a:schemeClr val="bg1"/>
                </a:solidFill>
              </a:rPr>
              <a:t>A forecast is only as precise as similar forecasts in the past turned out to be.</a:t>
            </a:r>
            <a:endParaRPr lang="de-DE" sz="2300" b="1" dirty="0">
              <a:solidFill>
                <a:schemeClr val="bg1"/>
              </a:solidFill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6929BDC-8D0E-49DD-9FD0-DD01B68805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E86FBE0-C08C-4A32-8DCB-7BE687078CDE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A49B49C-0F26-47D9-9DF4-DB3FDE6947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8512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DE00E92-994A-43F2-AA67-D8E641878F3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18"/>
          <a:stretch/>
        </p:blipFill>
        <p:spPr>
          <a:xfrm>
            <a:off x="2245200" y="1238190"/>
            <a:ext cx="7092000" cy="438162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empirical prediction intervals?</a:t>
            </a:r>
            <a:endParaRPr lang="en-US" cap="non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4D0C8C-18D3-48D7-B08B-35BF1958233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421"/>
          <a:stretch/>
        </p:blipFill>
        <p:spPr>
          <a:xfrm>
            <a:off x="2245200" y="5509093"/>
            <a:ext cx="7092000" cy="32469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73CBECE-7013-42E2-BE7D-09713C2ADDC0}"/>
              </a:ext>
            </a:extLst>
          </p:cNvPr>
          <p:cNvSpPr/>
          <p:nvPr/>
        </p:nvSpPr>
        <p:spPr>
          <a:xfrm>
            <a:off x="3405051" y="1767840"/>
            <a:ext cx="748938" cy="130629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20A589-3516-4D21-913F-E07B9FD8B0A8}"/>
              </a:ext>
            </a:extLst>
          </p:cNvPr>
          <p:cNvSpPr/>
          <p:nvPr/>
        </p:nvSpPr>
        <p:spPr>
          <a:xfrm>
            <a:off x="5634446" y="1455174"/>
            <a:ext cx="966651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673A57-2412-4B21-A530-68BD78BD133E}"/>
              </a:ext>
            </a:extLst>
          </p:cNvPr>
          <p:cNvCxnSpPr/>
          <p:nvPr/>
        </p:nvCxnSpPr>
        <p:spPr>
          <a:xfrm>
            <a:off x="5695406" y="2516775"/>
            <a:ext cx="0" cy="1428205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0E49506-3387-4D55-962F-9E9A9234987D}"/>
              </a:ext>
            </a:extLst>
          </p:cNvPr>
          <p:cNvCxnSpPr/>
          <p:nvPr/>
        </p:nvCxnSpPr>
        <p:spPr>
          <a:xfrm>
            <a:off x="5142412" y="1615438"/>
            <a:ext cx="0" cy="1428205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662E37E-338C-4532-A07E-842B095B5F5D}"/>
              </a:ext>
            </a:extLst>
          </p:cNvPr>
          <p:cNvCxnSpPr/>
          <p:nvPr/>
        </p:nvCxnSpPr>
        <p:spPr>
          <a:xfrm>
            <a:off x="6239691" y="3383277"/>
            <a:ext cx="0" cy="1428205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10025DD-8998-4084-92F1-94558C0C87B6}"/>
              </a:ext>
            </a:extLst>
          </p:cNvPr>
          <p:cNvCxnSpPr/>
          <p:nvPr/>
        </p:nvCxnSpPr>
        <p:spPr>
          <a:xfrm>
            <a:off x="6788332" y="4132216"/>
            <a:ext cx="0" cy="1428205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3B5EA53B-E273-48AE-A4C7-50EF53B9A12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ADD5FF2-A98F-4E1B-B7EC-DAE85690C6EB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D25CE6EB-BDAF-4751-A43A-F770E7D9DA1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739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DE00E92-994A-43F2-AA67-D8E641878F3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30" t="14776" r="47789" b="70443"/>
          <a:stretch/>
        </p:blipFill>
        <p:spPr>
          <a:xfrm>
            <a:off x="1924050" y="2348792"/>
            <a:ext cx="7410450" cy="323285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empirical prediction intervals?</a:t>
            </a:r>
            <a:endParaRPr lang="en-US" cap="non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3CBECE-7013-42E2-BE7D-09713C2ADDC0}"/>
              </a:ext>
            </a:extLst>
          </p:cNvPr>
          <p:cNvSpPr/>
          <p:nvPr/>
        </p:nvSpPr>
        <p:spPr>
          <a:xfrm>
            <a:off x="3405051" y="1767840"/>
            <a:ext cx="748938" cy="130629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20A589-3516-4D21-913F-E07B9FD8B0A8}"/>
              </a:ext>
            </a:extLst>
          </p:cNvPr>
          <p:cNvSpPr/>
          <p:nvPr/>
        </p:nvSpPr>
        <p:spPr>
          <a:xfrm>
            <a:off x="5634446" y="1455174"/>
            <a:ext cx="966651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id="{30929E93-D454-461A-96A1-65B13186768D}"/>
              </a:ext>
            </a:extLst>
          </p:cNvPr>
          <p:cNvSpPr/>
          <p:nvPr/>
        </p:nvSpPr>
        <p:spPr>
          <a:xfrm>
            <a:off x="7753349" y="3429000"/>
            <a:ext cx="419101" cy="504825"/>
          </a:xfrm>
          <a:prstGeom prst="rightBrace">
            <a:avLst>
              <a:gd name="adj1" fmla="val 24242"/>
              <a:gd name="adj2" fmla="val 44340"/>
            </a:avLst>
          </a:prstGeom>
          <a:ln w="28575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BB2FEC-69F4-47AD-A86D-7AB836FC5B2B}"/>
              </a:ext>
            </a:extLst>
          </p:cNvPr>
          <p:cNvSpPr/>
          <p:nvPr/>
        </p:nvSpPr>
        <p:spPr>
          <a:xfrm>
            <a:off x="8372475" y="3352800"/>
            <a:ext cx="1924050" cy="581025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de-DE" sz="1600" b="1" dirty="0">
                <a:solidFill>
                  <a:schemeClr val="bg1"/>
                </a:solidFill>
              </a:rPr>
              <a:t>Forecast Error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A5476FCA-08A5-49B3-99FC-DE1B97C85A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FEC4ECB-0FC7-4BD7-9E75-A443182A807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F63436B0-CB1C-4F49-9E1A-A87B15A4D0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37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 empirical prediction intervals?</a:t>
            </a:r>
            <a:endParaRPr lang="en-US" cap="non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3CBECE-7013-42E2-BE7D-09713C2ADDC0}"/>
              </a:ext>
            </a:extLst>
          </p:cNvPr>
          <p:cNvSpPr/>
          <p:nvPr/>
        </p:nvSpPr>
        <p:spPr>
          <a:xfrm>
            <a:off x="3405051" y="1767840"/>
            <a:ext cx="748938" cy="130629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20A589-3516-4D21-913F-E07B9FD8B0A8}"/>
              </a:ext>
            </a:extLst>
          </p:cNvPr>
          <p:cNvSpPr/>
          <p:nvPr/>
        </p:nvSpPr>
        <p:spPr>
          <a:xfrm>
            <a:off x="5634446" y="1455174"/>
            <a:ext cx="966651" cy="251706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42EBC9D-F182-49ED-9624-B943A9ECCC0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clrChange>
              <a:clrFrom>
                <a:srgbClr val="D8D8D8"/>
              </a:clrFrom>
              <a:clrTo>
                <a:srgbClr val="D8D8D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1581027"/>
            <a:ext cx="7092000" cy="4725309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EA78534-9086-4728-83E7-64C2ED44C4FB}"/>
              </a:ext>
            </a:extLst>
          </p:cNvPr>
          <p:cNvSpPr txBox="1"/>
          <p:nvPr/>
        </p:nvSpPr>
        <p:spPr>
          <a:xfrm flipH="1">
            <a:off x="8912469" y="4907767"/>
            <a:ext cx="2798669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300" dirty="0"/>
              <a:t>Distribution </a:t>
            </a:r>
            <a:r>
              <a:rPr lang="de-DE" sz="2300" dirty="0" err="1"/>
              <a:t>of</a:t>
            </a:r>
            <a:r>
              <a:rPr lang="de-DE" sz="2300" dirty="0"/>
              <a:t> </a:t>
            </a:r>
            <a:r>
              <a:rPr lang="de-DE" sz="2300" dirty="0" err="1"/>
              <a:t>the</a:t>
            </a:r>
            <a:r>
              <a:rPr lang="de-DE" sz="2300" dirty="0"/>
              <a:t> </a:t>
            </a:r>
            <a:r>
              <a:rPr lang="de-DE" sz="2300" dirty="0" err="1"/>
              <a:t>forecast</a:t>
            </a:r>
            <a:r>
              <a:rPr lang="de-DE" sz="2300" dirty="0"/>
              <a:t> </a:t>
            </a:r>
            <a:r>
              <a:rPr lang="de-DE" sz="2300" dirty="0" err="1"/>
              <a:t>error</a:t>
            </a:r>
            <a:endParaRPr lang="de-DE" sz="2300" dirty="0"/>
          </a:p>
        </p:txBody>
      </p:sp>
      <p:pic>
        <p:nvPicPr>
          <p:cNvPr id="8" name="Graphic 7" descr="Line arrow Clockwise curve">
            <a:extLst>
              <a:ext uri="{FF2B5EF4-FFF2-40B4-BE49-F238E27FC236}">
                <a16:creationId xmlns:a16="http://schemas.microsoft.com/office/drawing/2014/main" id="{D79C02FC-0C3E-44BD-BCA2-C6271608F6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7190505" flipH="1">
            <a:off x="8455269" y="3735445"/>
            <a:ext cx="914400" cy="914400"/>
          </a:xfrm>
          <a:prstGeom prst="rect">
            <a:avLst/>
          </a:prstGeom>
        </p:spPr>
      </p:pic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86C4F963-9503-4F7D-85EA-97F3FBB5A6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24/10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7FABAB-ACBE-4202-9734-DA25915D9F63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E63739D-3354-41B4-AB9B-0269C6AC592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2606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-MPIDR-TemplateTalks.pptx" id="{C0D2E4FB-BA3E-4262-AB47-9ED1F735E32C}" vid="{7F99E8A2-E5AC-4FBE-B771-06B5D77FFF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27</Words>
  <Application>Microsoft Office PowerPoint</Application>
  <PresentationFormat>Widescreen</PresentationFormat>
  <Paragraphs>77</Paragraphs>
  <Slides>1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.SF NS Symbols Regular</vt:lpstr>
      <vt:lpstr>Arial</vt:lpstr>
      <vt:lpstr>Calibri</vt:lpstr>
      <vt:lpstr>Symbol</vt:lpstr>
      <vt:lpstr>Wingdings 3</vt:lpstr>
      <vt:lpstr>MPG_2020</vt:lpstr>
      <vt:lpstr>think-cell Folie</vt:lpstr>
      <vt:lpstr>Empirical Prediction Intervals Applied to Short-term Mortality and Excess Deaths</vt:lpstr>
      <vt:lpstr>How many more deaths occur because of Covid-19?</vt:lpstr>
      <vt:lpstr>How many more deaths occur because of Covid-19?</vt:lpstr>
      <vt:lpstr>How many more deaths occur because of Covid-19?</vt:lpstr>
      <vt:lpstr>How to get prediction intervals?  Parametric prediction intervals:</vt:lpstr>
      <vt:lpstr>How to get prediction intervals?  Empirical prediction intervals:</vt:lpstr>
      <vt:lpstr>How to get empirical prediction intervals?</vt:lpstr>
      <vt:lpstr>How to get empirical prediction intervals?</vt:lpstr>
      <vt:lpstr>How to get empirical prediction intervals?</vt:lpstr>
      <vt:lpstr>How to get empirical prediction intervals?</vt:lpstr>
      <vt:lpstr>How to get empirical prediction intervals?</vt:lpstr>
      <vt:lpstr>Let’s validate empirical prediction intervals!</vt:lpstr>
      <vt:lpstr>Let’s validate empirical prediction intervals!</vt:lpstr>
      <vt:lpstr>PowerPoint Presentation</vt:lpstr>
      <vt:lpstr>PowerPoint Presentation</vt:lpstr>
      <vt:lpstr>Empirical Prediction intervals are grea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irical Prediction Intervals Applied to Short-term Mortality and Excess Deaths</dc:title>
  <dc:creator>Duerst, Ricarda</dc:creator>
  <cp:lastModifiedBy>Duerst, Ricarda</cp:lastModifiedBy>
  <cp:revision>42</cp:revision>
  <dcterms:created xsi:type="dcterms:W3CDTF">2023-09-29T11:59:37Z</dcterms:created>
  <dcterms:modified xsi:type="dcterms:W3CDTF">2023-10-19T13:23:44Z</dcterms:modified>
</cp:coreProperties>
</file>